
<file path=[Content_Types].xml><?xml version="1.0" encoding="utf-8"?>
<Types xmlns="http://schemas.openxmlformats.org/package/2006/content-types">
  <Default Extension="bin" ContentType="application/vnd.openxmlformats-officedocument.oleObject"/>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4434" autoAdjust="0"/>
  </p:normalViewPr>
  <p:slideViewPr>
    <p:cSldViewPr snapToGrid="0" showGuides="1">
      <p:cViewPr>
        <p:scale>
          <a:sx n="117" d="100"/>
          <a:sy n="117" d="100"/>
        </p:scale>
        <p:origin x="56" y="-2424"/>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docChgLst>
    <pc:chgData name="Poyrekar, Nikita" userId="81b7bcf0-b252-48e8-8b8e-b08ae8900a92" providerId="ADAL" clId="{5FDCE233-393A-4EAF-87EB-9433227E047F}"/>
    <pc:docChg chg="modSld">
      <pc:chgData name="Poyrekar, Nikita" userId="81b7bcf0-b252-48e8-8b8e-b08ae8900a92" providerId="ADAL" clId="{5FDCE233-393A-4EAF-87EB-9433227E047F}" dt="2022-02-23T15:10:26.043" v="316" actId="20577"/>
      <pc:docMkLst>
        <pc:docMk/>
      </pc:docMkLst>
      <pc:sldChg chg="modSp mod">
        <pc:chgData name="Poyrekar, Nikita" userId="81b7bcf0-b252-48e8-8b8e-b08ae8900a92" providerId="ADAL" clId="{5FDCE233-393A-4EAF-87EB-9433227E047F}" dt="2022-02-23T15:10:26.043" v="316" actId="20577"/>
        <pc:sldMkLst>
          <pc:docMk/>
          <pc:sldMk cId="2678710148" sldId="693"/>
        </pc:sldMkLst>
        <pc:spChg chg="mod">
          <ac:chgData name="Poyrekar, Nikita" userId="81b7bcf0-b252-48e8-8b8e-b08ae8900a92" providerId="ADAL" clId="{5FDCE233-393A-4EAF-87EB-9433227E047F}" dt="2022-01-24T06:01:10.090" v="18" actId="20577"/>
          <ac:spMkLst>
            <pc:docMk/>
            <pc:sldMk cId="2678710148" sldId="693"/>
            <ac:spMk id="2" creationId="{00000000-0000-0000-0000-000000000000}"/>
          </ac:spMkLst>
        </pc:spChg>
        <pc:spChg chg="mod">
          <ac:chgData name="Poyrekar, Nikita" userId="81b7bcf0-b252-48e8-8b8e-b08ae8900a92" providerId="ADAL" clId="{5FDCE233-393A-4EAF-87EB-9433227E047F}" dt="2022-02-23T15:10:26.043" v="316" actId="20577"/>
          <ac:spMkLst>
            <pc:docMk/>
            <pc:sldMk cId="2678710148" sldId="693"/>
            <ac:spMk id="16" creationId="{00000000-0000-0000-0000-000000000000}"/>
          </ac:spMkLst>
        </pc:spChg>
        <pc:spChg chg="mod">
          <ac:chgData name="Poyrekar, Nikita" userId="81b7bcf0-b252-48e8-8b8e-b08ae8900a92" providerId="ADAL" clId="{5FDCE233-393A-4EAF-87EB-9433227E047F}" dt="2022-01-24T06:05:53.315" v="287" actId="1036"/>
          <ac:spMkLst>
            <pc:docMk/>
            <pc:sldMk cId="2678710148" sldId="693"/>
            <ac:spMk id="17" creationId="{00000000-0000-0000-0000-000000000000}"/>
          </ac:spMkLst>
        </pc:spChg>
        <pc:spChg chg="mod">
          <ac:chgData name="Poyrekar, Nikita" userId="81b7bcf0-b252-48e8-8b8e-b08ae8900a92" providerId="ADAL" clId="{5FDCE233-393A-4EAF-87EB-9433227E047F}" dt="2022-01-24T06:05:50.571" v="282" actId="1036"/>
          <ac:spMkLst>
            <pc:docMk/>
            <pc:sldMk cId="2678710148" sldId="693"/>
            <ac:spMk id="18" creationId="{00000000-0000-0000-0000-000000000000}"/>
          </ac:spMkLst>
        </pc:spChg>
        <pc:spChg chg="mod">
          <ac:chgData name="Poyrekar, Nikita" userId="81b7bcf0-b252-48e8-8b8e-b08ae8900a92" providerId="ADAL" clId="{5FDCE233-393A-4EAF-87EB-9433227E047F}" dt="2022-01-24T06:06:04.074" v="301" actId="1036"/>
          <ac:spMkLst>
            <pc:docMk/>
            <pc:sldMk cId="2678710148" sldId="693"/>
            <ac:spMk id="21" creationId="{00000000-0000-0000-0000-000000000000}"/>
          </ac:spMkLst>
        </pc:spChg>
      </pc:sldChg>
    </pc:docChg>
  </pc:docChgLst>
  <pc:docChgLst>
    <pc:chgData name="Poyrekar, Nikita" userId="81b7bcf0-b252-48e8-8b8e-b08ae8900a92" providerId="ADAL" clId="{0C040029-E90A-47AA-A7B0-C075E074534A}"/>
    <pc:docChg chg="modSld">
      <pc:chgData name="Poyrekar, Nikita" userId="81b7bcf0-b252-48e8-8b8e-b08ae8900a92" providerId="ADAL" clId="{0C040029-E90A-47AA-A7B0-C075E074534A}" dt="2022-05-09T05:38:25.383" v="244" actId="20577"/>
      <pc:docMkLst>
        <pc:docMk/>
      </pc:docMkLst>
      <pc:sldChg chg="modSp mod">
        <pc:chgData name="Poyrekar, Nikita" userId="81b7bcf0-b252-48e8-8b8e-b08ae8900a92" providerId="ADAL" clId="{0C040029-E90A-47AA-A7B0-C075E074534A}" dt="2022-05-09T05:38:25.383" v="244" actId="20577"/>
        <pc:sldMkLst>
          <pc:docMk/>
          <pc:sldMk cId="2678710148" sldId="693"/>
        </pc:sldMkLst>
        <pc:spChg chg="mod">
          <ac:chgData name="Poyrekar, Nikita" userId="81b7bcf0-b252-48e8-8b8e-b08ae8900a92" providerId="ADAL" clId="{0C040029-E90A-47AA-A7B0-C075E074534A}" dt="2022-05-09T05:38:25.383" v="244" actId="20577"/>
          <ac:spMkLst>
            <pc:docMk/>
            <pc:sldMk cId="2678710148" sldId="693"/>
            <ac:spMk id="2" creationId="{00000000-0000-0000-0000-000000000000}"/>
          </ac:spMkLst>
        </pc:spChg>
        <pc:spChg chg="mod">
          <ac:chgData name="Poyrekar, Nikita" userId="81b7bcf0-b252-48e8-8b8e-b08ae8900a92" providerId="ADAL" clId="{0C040029-E90A-47AA-A7B0-C075E074534A}" dt="2022-05-09T05:38:07.291" v="241" actId="20577"/>
          <ac:spMkLst>
            <pc:docMk/>
            <pc:sldMk cId="2678710148" sldId="693"/>
            <ac:spMk id="15" creationId="{00000000-0000-0000-0000-000000000000}"/>
          </ac:spMkLst>
        </pc:spChg>
        <pc:spChg chg="mod">
          <ac:chgData name="Poyrekar, Nikita" userId="81b7bcf0-b252-48e8-8b8e-b08ae8900a92" providerId="ADAL" clId="{0C040029-E90A-47AA-A7B0-C075E074534A}" dt="2022-05-09T05:33:46.229" v="192" actId="20577"/>
          <ac:spMkLst>
            <pc:docMk/>
            <pc:sldMk cId="2678710148" sldId="693"/>
            <ac:spMk id="16" creationId="{00000000-0000-0000-0000-000000000000}"/>
          </ac:spMkLst>
        </pc:spChg>
        <pc:spChg chg="mod">
          <ac:chgData name="Poyrekar, Nikita" userId="81b7bcf0-b252-48e8-8b8e-b08ae8900a92" providerId="ADAL" clId="{0C040029-E90A-47AA-A7B0-C075E074534A}" dt="2022-05-09T05:35:37.684" v="236" actId="20577"/>
          <ac:spMkLst>
            <pc:docMk/>
            <pc:sldMk cId="2678710148" sldId="693"/>
            <ac:spMk id="18" creationId="{00000000-0000-0000-0000-000000000000}"/>
          </ac:spMkLst>
        </pc:spChg>
      </pc:sldChg>
    </pc:docChg>
  </pc:docChgLst>
  <pc:docChgLst>
    <pc:chgData name="Poyrekar, Nikita" userId="81b7bcf0-b252-48e8-8b8e-b08ae8900a92" providerId="ADAL" clId="{E4D5CF6B-2C5C-43F0-B4AB-E88E5F109317}"/>
    <pc:docChg chg="custSel modSld">
      <pc:chgData name="Poyrekar, Nikita" userId="81b7bcf0-b252-48e8-8b8e-b08ae8900a92" providerId="ADAL" clId="{E4D5CF6B-2C5C-43F0-B4AB-E88E5F109317}" dt="2022-07-24T06:05:15.620" v="152" actId="20577"/>
      <pc:docMkLst>
        <pc:docMk/>
      </pc:docMkLst>
      <pc:sldChg chg="modSp mod">
        <pc:chgData name="Poyrekar, Nikita" userId="81b7bcf0-b252-48e8-8b8e-b08ae8900a92" providerId="ADAL" clId="{E4D5CF6B-2C5C-43F0-B4AB-E88E5F109317}" dt="2022-07-24T06:05:15.620" v="152" actId="20577"/>
        <pc:sldMkLst>
          <pc:docMk/>
          <pc:sldMk cId="2678710148" sldId="693"/>
        </pc:sldMkLst>
        <pc:spChg chg="mod">
          <ac:chgData name="Poyrekar, Nikita" userId="81b7bcf0-b252-48e8-8b8e-b08ae8900a92" providerId="ADAL" clId="{E4D5CF6B-2C5C-43F0-B4AB-E88E5F109317}" dt="2022-07-24T06:05:15.620" v="152" actId="20577"/>
          <ac:spMkLst>
            <pc:docMk/>
            <pc:sldMk cId="2678710148" sldId="693"/>
            <ac:spMk id="2" creationId="{00000000-0000-0000-0000-000000000000}"/>
          </ac:spMkLst>
        </pc:spChg>
        <pc:spChg chg="mod">
          <ac:chgData name="Poyrekar, Nikita" userId="81b7bcf0-b252-48e8-8b8e-b08ae8900a92" providerId="ADAL" clId="{E4D5CF6B-2C5C-43F0-B4AB-E88E5F109317}" dt="2022-07-24T06:03:12.754" v="116" actId="14100"/>
          <ac:spMkLst>
            <pc:docMk/>
            <pc:sldMk cId="2678710148" sldId="693"/>
            <ac:spMk id="15" creationId="{00000000-0000-0000-0000-000000000000}"/>
          </ac:spMkLst>
        </pc:spChg>
        <pc:spChg chg="mod">
          <ac:chgData name="Poyrekar, Nikita" userId="81b7bcf0-b252-48e8-8b8e-b08ae8900a92" providerId="ADAL" clId="{E4D5CF6B-2C5C-43F0-B4AB-E88E5F109317}" dt="2022-07-24T06:02:31.856" v="73" actId="14100"/>
          <ac:spMkLst>
            <pc:docMk/>
            <pc:sldMk cId="2678710148" sldId="693"/>
            <ac:spMk id="16" creationId="{00000000-0000-0000-0000-000000000000}"/>
          </ac:spMkLst>
        </pc:spChg>
        <pc:spChg chg="mod">
          <ac:chgData name="Poyrekar, Nikita" userId="81b7bcf0-b252-48e8-8b8e-b08ae8900a92" providerId="ADAL" clId="{E4D5CF6B-2C5C-43F0-B4AB-E88E5F109317}" dt="2022-07-24T06:02:36.831" v="83" actId="1036"/>
          <ac:spMkLst>
            <pc:docMk/>
            <pc:sldMk cId="2678710148" sldId="693"/>
            <ac:spMk id="17" creationId="{00000000-0000-0000-0000-000000000000}"/>
          </ac:spMkLst>
        </pc:spChg>
        <pc:spChg chg="mod">
          <ac:chgData name="Poyrekar, Nikita" userId="81b7bcf0-b252-48e8-8b8e-b08ae8900a92" providerId="ADAL" clId="{E4D5CF6B-2C5C-43F0-B4AB-E88E5F109317}" dt="2022-07-24T06:02:58.170" v="103" actId="14100"/>
          <ac:spMkLst>
            <pc:docMk/>
            <pc:sldMk cId="2678710148" sldId="693"/>
            <ac:spMk id="18" creationId="{00000000-0000-0000-0000-000000000000}"/>
          </ac:spMkLst>
        </pc:spChg>
        <pc:spChg chg="mod">
          <ac:chgData name="Poyrekar, Nikita" userId="81b7bcf0-b252-48e8-8b8e-b08ae8900a92" providerId="ADAL" clId="{E4D5CF6B-2C5C-43F0-B4AB-E88E5F109317}" dt="2022-07-24T06:02:16.727" v="59" actId="1035"/>
          <ac:spMkLst>
            <pc:docMk/>
            <pc:sldMk cId="2678710148" sldId="693"/>
            <ac:spMk id="21"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7/24/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7/24/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poyrekar@deloitte.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8882" y="165684"/>
            <a:ext cx="11493218" cy="698501"/>
          </a:xfrm>
        </p:spPr>
        <p:txBody>
          <a:bodyPr/>
          <a:lstStyle/>
          <a:p>
            <a:r>
              <a:rPr lang="en-US" sz="2400" b="1" dirty="0">
                <a:latin typeface="+mn-lt"/>
                <a:cs typeface="Calibri" panose="020F0502020204030204" pitchFamily="34" charset="0"/>
              </a:rPr>
              <a:t>Nikita Deepak Poyrekar</a:t>
            </a:r>
            <a:br>
              <a:rPr lang="en-US" sz="2400" b="1" dirty="0">
                <a:latin typeface="+mn-lt"/>
                <a:cs typeface="Calibri" panose="020F0502020204030204" pitchFamily="34" charset="0"/>
              </a:rPr>
            </a:br>
            <a:r>
              <a:rPr lang="en-US" sz="1800" dirty="0">
                <a:latin typeface="+mn-lt"/>
                <a:cs typeface="Calibri" panose="020F0502020204030204" pitchFamily="34" charset="0"/>
              </a:rPr>
              <a:t>Consultant, Deloitte India</a:t>
            </a:r>
            <a:endParaRPr lang="en-IN" sz="2400" b="1" i="1" dirty="0">
              <a:solidFill>
                <a:schemeClr val="accent6"/>
              </a:solidFill>
              <a:latin typeface="+mn-lt"/>
              <a:cs typeface="Calibri" panose="020F0502020204030204" pitchFamily="34" charset="0"/>
            </a:endParaRPr>
          </a:p>
        </p:txBody>
      </p:sp>
      <p:sp>
        <p:nvSpPr>
          <p:cNvPr id="14" name="Rectangle 13"/>
          <p:cNvSpPr/>
          <p:nvPr/>
        </p:nvSpPr>
        <p:spPr>
          <a:xfrm>
            <a:off x="226885" y="3002467"/>
            <a:ext cx="1980000" cy="2611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Qualifications</a:t>
            </a:r>
          </a:p>
        </p:txBody>
      </p:sp>
      <p:sp>
        <p:nvSpPr>
          <p:cNvPr id="15" name="Rectangle 14"/>
          <p:cNvSpPr/>
          <p:nvPr/>
        </p:nvSpPr>
        <p:spPr>
          <a:xfrm>
            <a:off x="192038" y="3299758"/>
            <a:ext cx="2010823"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BE: Mumbai University</a:t>
            </a:r>
          </a:p>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MTech: KJ Somaiya college of engineering</a:t>
            </a:r>
          </a:p>
        </p:txBody>
      </p:sp>
      <p:sp>
        <p:nvSpPr>
          <p:cNvPr id="16" name="Rectangle 15"/>
          <p:cNvSpPr/>
          <p:nvPr/>
        </p:nvSpPr>
        <p:spPr>
          <a:xfrm>
            <a:off x="2496958" y="1164032"/>
            <a:ext cx="9225140" cy="35494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close to 3 years of experience in software development and client management roles. She has developed enterprise applications with visually responsive elements using state-of-the-art JS frameworks like Angular, React and Next.js. She has led the entire PED (Product, Engineering and design) team for projects across Healthcare, Property and retail management sectors. 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Translating the UI designs into front-end code</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nd Confluence</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esting frameworks/tools: JEST, React testing library and Cypres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ask runners: Gulp4</a:t>
            </a:r>
          </a:p>
        </p:txBody>
      </p:sp>
      <p:sp>
        <p:nvSpPr>
          <p:cNvPr id="17" name="Rectangle 16"/>
          <p:cNvSpPr/>
          <p:nvPr/>
        </p:nvSpPr>
        <p:spPr>
          <a:xfrm>
            <a:off x="2496959" y="4809509"/>
            <a:ext cx="9225139"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Key Engagements</a:t>
            </a:r>
          </a:p>
        </p:txBody>
      </p:sp>
      <p:sp>
        <p:nvSpPr>
          <p:cNvPr id="18" name="Rectangle 17"/>
          <p:cNvSpPr/>
          <p:nvPr/>
        </p:nvSpPr>
        <p:spPr>
          <a:xfrm>
            <a:off x="2496958" y="5106807"/>
            <a:ext cx="9225139" cy="12994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signed and built a digital platform to simplify tenant and landlord management functions for the leading USA-based real-estate organization. The role involved gathering requirements, identifying resolutions to the existing problems/challenges, developing technical specifications and executing the same.</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eloped user authentication module using biometric verification for a pharma client in India; technology stack included ReactJS and Python</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Experience with Test Driven Development: Involved in defining and executing; unit, integration and E2E test cases using JEST, Enzyme, React testing library and Cypress. </a:t>
            </a:r>
            <a:endParaRPr lang="en-ZA" sz="900" kern="0" dirty="0">
              <a:solidFill>
                <a:srgbClr val="000000"/>
              </a:solidFill>
              <a:cs typeface="Calibri" panose="020F0502020204030204" pitchFamily="34" charset="0"/>
            </a:endParaRPr>
          </a:p>
        </p:txBody>
      </p:sp>
      <p:sp>
        <p:nvSpPr>
          <p:cNvPr id="21" name="Rectangle 20"/>
          <p:cNvSpPr/>
          <p:nvPr/>
        </p:nvSpPr>
        <p:spPr>
          <a:xfrm>
            <a:off x="2496958" y="868222"/>
            <a:ext cx="9225141"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ofessional Experience</a:t>
            </a:r>
          </a:p>
        </p:txBody>
      </p:sp>
      <p:sp>
        <p:nvSpPr>
          <p:cNvPr id="22" name="Rectangle 21"/>
          <p:cNvSpPr/>
          <p:nvPr/>
        </p:nvSpPr>
        <p:spPr>
          <a:xfrm>
            <a:off x="222861" y="3982892"/>
            <a:ext cx="1980000" cy="2880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imary skills</a:t>
            </a:r>
          </a:p>
        </p:txBody>
      </p:sp>
      <p:sp>
        <p:nvSpPr>
          <p:cNvPr id="12" name="Text Placeholder 1"/>
          <p:cNvSpPr txBox="1">
            <a:spLocks/>
          </p:cNvSpPr>
          <p:nvPr/>
        </p:nvSpPr>
        <p:spPr>
          <a:xfrm>
            <a:off x="323435" y="2667917"/>
            <a:ext cx="1879426" cy="48406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300"/>
              </a:spcBef>
              <a:spcAft>
                <a:spcPts val="0"/>
              </a:spcAft>
              <a:buClrTx/>
              <a:buSzTx/>
              <a:buFont typeface="Arial" pitchFamily="34" charset="0"/>
              <a:buNone/>
              <a:tabLst/>
              <a:defRPr/>
            </a:pPr>
            <a:r>
              <a:rPr lang="en-GB" sz="1000" b="1" noProof="0" dirty="0">
                <a:solidFill>
                  <a:srgbClr val="575757"/>
                </a:solidFill>
                <a:cs typeface="Calibri" panose="020F0502020204030204" pitchFamily="34" charset="0"/>
              </a:rPr>
              <a:t> </a:t>
            </a:r>
            <a:r>
              <a:rPr lang="en-GB" sz="1000" b="1" noProof="0" dirty="0">
                <a:solidFill>
                  <a:srgbClr val="575757"/>
                </a:solidFill>
                <a:cs typeface="Calibri" panose="020F0502020204030204" pitchFamily="34" charset="0"/>
                <a:hlinkClick r:id="rId3"/>
              </a:rPr>
              <a:t>npoyrekar@deloitte.com</a:t>
            </a:r>
            <a:r>
              <a:rPr lang="en-GB" sz="1000" b="1" noProof="0" dirty="0">
                <a:solidFill>
                  <a:srgbClr val="575757"/>
                </a:solidFill>
                <a:cs typeface="Calibri" panose="020F0502020204030204" pitchFamily="34" charset="0"/>
              </a:rPr>
              <a:t> </a:t>
            </a:r>
            <a:endParaRPr lang="en-GB" sz="1000" dirty="0">
              <a:solidFill>
                <a:srgbClr val="575757"/>
              </a:solidFill>
              <a:cs typeface="Calibri" panose="020F0502020204030204" pitchFamily="34" charset="0"/>
            </a:endParaRPr>
          </a:p>
        </p:txBody>
      </p:sp>
      <p:sp>
        <p:nvSpPr>
          <p:cNvPr id="2" name="Rectangle 1"/>
          <p:cNvSpPr/>
          <p:nvPr/>
        </p:nvSpPr>
        <p:spPr>
          <a:xfrm>
            <a:off x="222862" y="4300517"/>
            <a:ext cx="1979999" cy="1726306"/>
          </a:xfrm>
          <a:prstGeom prst="rect">
            <a:avLst/>
          </a:prstGeom>
        </p:spPr>
        <p:txBody>
          <a:bodyPr wrap="square">
            <a:spAutoFit/>
          </a:bodyPr>
          <a:lstStyle/>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Frontend development – React, Next.js, Angular 7+, JavaScript, TypeScript</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Working </a:t>
            </a:r>
            <a:r>
              <a:rPr lang="en-ZA" sz="900">
                <a:solidFill>
                  <a:prstClr val="black"/>
                </a:solidFill>
                <a:cs typeface="Calibri" panose="020F0502020204030204" pitchFamily="34" charset="0"/>
              </a:rPr>
              <a:t>knowledge of Jenkins</a:t>
            </a:r>
            <a:endParaRPr lang="en-ZA" sz="900" dirty="0">
              <a:solidFill>
                <a:prstClr val="black"/>
              </a:solidFill>
              <a:cs typeface="Calibri" panose="020F0502020204030204" pitchFamily="34" charset="0"/>
            </a:endParaRP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State management - Redux</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POSTMAN, JEST, React testing library, and Cypress</a:t>
            </a:r>
            <a:endParaRPr lang="en-US" sz="2000" dirty="0">
              <a:cs typeface="Calibri" panose="020F0502020204030204" pitchFamily="34" charset="0"/>
            </a:endParaRPr>
          </a:p>
        </p:txBody>
      </p:sp>
      <p:sp>
        <p:nvSpPr>
          <p:cNvPr id="4" name="Rectangle 3"/>
          <p:cNvSpPr/>
          <p:nvPr/>
        </p:nvSpPr>
        <p:spPr>
          <a:xfrm>
            <a:off x="5965195" y="3198168"/>
            <a:ext cx="293670" cy="461665"/>
          </a:xfrm>
          <a:prstGeom prst="rect">
            <a:avLst/>
          </a:prstGeom>
        </p:spPr>
        <p:txBody>
          <a:bodyPr wrap="none">
            <a:spAutoFit/>
          </a:bodyPr>
          <a:lstStyle/>
          <a:p>
            <a:r>
              <a:rPr lang="en-US" dirty="0">
                <a:solidFill>
                  <a:srgbClr val="000000"/>
                </a:solidFill>
                <a:cs typeface="Calibri" panose="020F0502020204030204" pitchFamily="34" charset="0"/>
              </a:rPr>
              <a:t> </a:t>
            </a:r>
            <a:endParaRPr lang="en-US" dirty="0">
              <a:cs typeface="Calibri" panose="020F0502020204030204" pitchFamily="34" charset="0"/>
            </a:endParaRPr>
          </a:p>
        </p:txBody>
      </p:sp>
      <p:sp>
        <p:nvSpPr>
          <p:cNvPr id="19" name="Rectangle 18">
            <a:extLst>
              <a:ext uri="{FF2B5EF4-FFF2-40B4-BE49-F238E27FC236}">
                <a16:creationId xmlns:a16="http://schemas.microsoft.com/office/drawing/2014/main" id="{842D9BA8-19C9-43FE-A664-761CAEC3AB0C}"/>
              </a:ext>
            </a:extLst>
          </p:cNvPr>
          <p:cNvSpPr/>
          <p:nvPr/>
        </p:nvSpPr>
        <p:spPr>
          <a:xfrm>
            <a:off x="228882" y="5242881"/>
            <a:ext cx="2076124" cy="461665"/>
          </a:xfrm>
          <a:prstGeom prst="rect">
            <a:avLst/>
          </a:prstGeom>
        </p:spPr>
        <p:txBody>
          <a:bodyPr wrap="square" anchor="t">
            <a:spAutoFit/>
          </a:bodyPr>
          <a:lstStyle/>
          <a:p>
            <a:endParaRPr lang="en-US" dirty="0">
              <a:cs typeface="Calibri" panose="020F0502020204030204" pitchFamily="34" charset="0"/>
            </a:endParaRPr>
          </a:p>
        </p:txBody>
      </p:sp>
      <p:pic>
        <p:nvPicPr>
          <p:cNvPr id="7" name="Content Placeholder 6">
            <a:extLst>
              <a:ext uri="{FF2B5EF4-FFF2-40B4-BE49-F238E27FC236}">
                <a16:creationId xmlns:a16="http://schemas.microsoft.com/office/drawing/2014/main" id="{35B07E6F-2E6A-4E1C-B6B2-652F56E5B9B6}"/>
              </a:ext>
            </a:extLst>
          </p:cNvPr>
          <p:cNvPicPr>
            <a:picLocks noGrp="1" noChangeAspect="1"/>
          </p:cNvPicPr>
          <p:nvPr>
            <p:ph idx="1"/>
          </p:nvPr>
        </p:nvPicPr>
        <p:blipFill>
          <a:blip r:embed="rId4"/>
          <a:stretch>
            <a:fillRect/>
          </a:stretch>
        </p:blipFill>
        <p:spPr>
          <a:xfrm>
            <a:off x="469900" y="966560"/>
            <a:ext cx="1580976" cy="1665555"/>
          </a:xfrm>
        </p:spPr>
      </p:pic>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5CF092-BC1D-4376-B6C4-CFCD2F92756E}">
  <ds:schemaRefs>
    <ds:schemaRef ds:uri="http://schemas.microsoft.com/office/2006/documentManagement/types"/>
    <ds:schemaRef ds:uri="http://schemas.microsoft.com/office/2006/metadata/properties"/>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655bbda8-32d5-4c1a-a1fa-5cab6faa4b30"/>
    <ds:schemaRef ds:uri="http://www.w3.org/XML/1998/namespace"/>
  </ds:schemaRefs>
</ds:datastoreItem>
</file>

<file path=customXml/itemProps2.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100C16-0770-41BD-BAA6-41F6DF6BE2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366</TotalTime>
  <Words>363</Words>
  <Application>Microsoft Office PowerPoint</Application>
  <PresentationFormat>Widescreen</PresentationFormat>
  <Paragraphs>3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Nikita Deepak Poyreka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2-07-24T06:0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